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  <p:sldId id="260" r:id="rId6"/>
  </p:sldIdLst>
  <p:sldSz cx="10972800" cy="109728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56" userDrawn="1">
          <p15:clr>
            <a:srgbClr val="A4A3A4"/>
          </p15:clr>
        </p15:guide>
        <p15:guide id="2" pos="34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 showGuides="1">
      <p:cViewPr varScale="1">
        <p:scale>
          <a:sx n="49" d="100"/>
          <a:sy n="49" d="100"/>
        </p:scale>
        <p:origin x="2184" y="58"/>
      </p:cViewPr>
      <p:guideLst>
        <p:guide orient="horz" pos="3456"/>
        <p:guide pos="345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2960" y="1795781"/>
            <a:ext cx="9326880" cy="3820160"/>
          </a:xfrm>
        </p:spPr>
        <p:txBody>
          <a:bodyPr anchor="b"/>
          <a:lstStyle>
            <a:lvl1pPr algn="ctr"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5763261"/>
            <a:ext cx="8229600" cy="2649219"/>
          </a:xfrm>
        </p:spPr>
        <p:txBody>
          <a:bodyPr/>
          <a:lstStyle>
            <a:lvl1pPr marL="0" indent="0" algn="ctr">
              <a:buNone/>
              <a:defRPr sz="288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FAA1C-EA07-485C-870A-06864054589F}" type="datetimeFigureOut">
              <a:rPr lang="en-MY" smtClean="0"/>
              <a:t>21/10/2024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2F4-8E3B-499A-B7F7-F4B483AC5B4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275420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FAA1C-EA07-485C-870A-06864054589F}" type="datetimeFigureOut">
              <a:rPr lang="en-MY" smtClean="0"/>
              <a:t>21/10/2024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2F4-8E3B-499A-B7F7-F4B483AC5B4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277733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52411" y="584200"/>
            <a:ext cx="2366010" cy="929894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4381" y="584200"/>
            <a:ext cx="6960870" cy="929894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FAA1C-EA07-485C-870A-06864054589F}" type="datetimeFigureOut">
              <a:rPr lang="en-MY" smtClean="0"/>
              <a:t>21/10/2024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2F4-8E3B-499A-B7F7-F4B483AC5B4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8341533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FAA1C-EA07-485C-870A-06864054589F}" type="datetimeFigureOut">
              <a:rPr lang="en-MY" smtClean="0"/>
              <a:t>21/10/2024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2F4-8E3B-499A-B7F7-F4B483AC5B4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267650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8666" y="2735583"/>
            <a:ext cx="9464040" cy="4564379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8666" y="7343143"/>
            <a:ext cx="9464040" cy="2400299"/>
          </a:xfrm>
        </p:spPr>
        <p:txBody>
          <a:bodyPr/>
          <a:lstStyle>
            <a:lvl1pPr marL="0" indent="0">
              <a:buNone/>
              <a:defRPr sz="2880">
                <a:solidFill>
                  <a:schemeClr val="tx1">
                    <a:tint val="82000"/>
                  </a:schemeClr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82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82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82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82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82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82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FAA1C-EA07-485C-870A-06864054589F}" type="datetimeFigureOut">
              <a:rPr lang="en-MY" smtClean="0"/>
              <a:t>21/10/2024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2F4-8E3B-499A-B7F7-F4B483AC5B4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727983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4380" y="2921000"/>
            <a:ext cx="4663440" cy="6962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54980" y="2921000"/>
            <a:ext cx="4663440" cy="6962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FAA1C-EA07-485C-870A-06864054589F}" type="datetimeFigureOut">
              <a:rPr lang="en-MY" smtClean="0"/>
              <a:t>21/10/2024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2F4-8E3B-499A-B7F7-F4B483AC5B4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107106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09" y="584202"/>
            <a:ext cx="9464040" cy="21209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810" y="2689861"/>
            <a:ext cx="4642008" cy="1318259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5810" y="4008120"/>
            <a:ext cx="4642008" cy="58953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554981" y="2689861"/>
            <a:ext cx="4664869" cy="1318259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554981" y="4008120"/>
            <a:ext cx="4664869" cy="58953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FAA1C-EA07-485C-870A-06864054589F}" type="datetimeFigureOut">
              <a:rPr lang="en-MY" smtClean="0"/>
              <a:t>21/10/2024</a:t>
            </a:fld>
            <a:endParaRPr lang="en-MY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2F4-8E3B-499A-B7F7-F4B483AC5B4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5123909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FAA1C-EA07-485C-870A-06864054589F}" type="datetimeFigureOut">
              <a:rPr lang="en-MY" smtClean="0"/>
              <a:t>21/10/2024</a:t>
            </a:fld>
            <a:endParaRPr lang="en-MY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2F4-8E3B-499A-B7F7-F4B483AC5B4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2887132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FAA1C-EA07-485C-870A-06864054589F}" type="datetimeFigureOut">
              <a:rPr lang="en-MY" smtClean="0"/>
              <a:t>21/10/2024</a:t>
            </a:fld>
            <a:endParaRPr lang="en-MY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2F4-8E3B-499A-B7F7-F4B483AC5B4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64139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09" y="731520"/>
            <a:ext cx="3539014" cy="256032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4869" y="1579882"/>
            <a:ext cx="5554980" cy="7797800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809" y="3291840"/>
            <a:ext cx="3539014" cy="6098541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FAA1C-EA07-485C-870A-06864054589F}" type="datetimeFigureOut">
              <a:rPr lang="en-MY" smtClean="0"/>
              <a:t>21/10/2024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2F4-8E3B-499A-B7F7-F4B483AC5B4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2375853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09" y="731520"/>
            <a:ext cx="3539014" cy="256032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664869" y="1579882"/>
            <a:ext cx="5554980" cy="7797800"/>
          </a:xfrm>
        </p:spPr>
        <p:txBody>
          <a:bodyPr anchor="t"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809" y="3291840"/>
            <a:ext cx="3539014" cy="6098541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FAA1C-EA07-485C-870A-06864054589F}" type="datetimeFigureOut">
              <a:rPr lang="en-MY" smtClean="0"/>
              <a:t>21/10/2024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D82F4-8E3B-499A-B7F7-F4B483AC5B4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20853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4380" y="584202"/>
            <a:ext cx="9464040" cy="21209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4380" y="2921000"/>
            <a:ext cx="9464040" cy="69621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4380" y="10170162"/>
            <a:ext cx="2468880" cy="584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E3FAA1C-EA07-485C-870A-06864054589F}" type="datetimeFigureOut">
              <a:rPr lang="en-MY" smtClean="0"/>
              <a:t>21/10/2024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4740" y="10170162"/>
            <a:ext cx="3703320" cy="584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49540" y="10170162"/>
            <a:ext cx="2468880" cy="584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E5D82F4-8E3B-499A-B7F7-F4B483AC5B4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923943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5" Type="http://schemas.openxmlformats.org/officeDocument/2006/relationships/image" Target="../media/image2.png"/><Relationship Id="rId4" Type="http://schemas.openxmlformats.org/officeDocument/2006/relationships/image" Target="../media/image1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8.png"/><Relationship Id="rId18" Type="http://schemas.openxmlformats.org/officeDocument/2006/relationships/image" Target="../media/image10.png"/><Relationship Id="rId3" Type="http://schemas.openxmlformats.org/officeDocument/2006/relationships/slide" Target="slide2.xml"/><Relationship Id="rId7" Type="http://schemas.openxmlformats.org/officeDocument/2006/relationships/image" Target="../media/image5.png"/><Relationship Id="rId12" Type="http://schemas.openxmlformats.org/officeDocument/2006/relationships/image" Target="../media/image7.png"/><Relationship Id="rId17" Type="http://schemas.openxmlformats.org/officeDocument/2006/relationships/image" Target="../media/image10.png"/><Relationship Id="rId2" Type="http://schemas.openxmlformats.org/officeDocument/2006/relationships/image" Target="../media/image3.png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5" Type="http://schemas.openxmlformats.org/officeDocument/2006/relationships/image" Target="../media/image9.png"/><Relationship Id="rId10" Type="http://schemas.openxmlformats.org/officeDocument/2006/relationships/image" Target="../media/image6.png"/><Relationship Id="rId4" Type="http://schemas.openxmlformats.org/officeDocument/2006/relationships/image" Target="../media/image3.png"/><Relationship Id="rId9" Type="http://schemas.openxmlformats.org/officeDocument/2006/relationships/image" Target="../media/image6.png"/><Relationship Id="rId1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1.png"/><Relationship Id="rId7" Type="http://schemas.openxmlformats.org/officeDocument/2006/relationships/image" Target="../media/image12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5" Type="http://schemas.openxmlformats.org/officeDocument/2006/relationships/image" Target="../media/image111.png"/><Relationship Id="rId4" Type="http://schemas.openxmlformats.org/officeDocument/2006/relationships/slide" Target="slide3.xml"/><Relationship Id="rId9" Type="http://schemas.openxmlformats.org/officeDocument/2006/relationships/image" Target="../media/image13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4.png"/><Relationship Id="rId7" Type="http://schemas.openxmlformats.org/officeDocument/2006/relationships/image" Target="../media/image15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15.png"/><Relationship Id="rId5" Type="http://schemas.openxmlformats.org/officeDocument/2006/relationships/image" Target="../media/image140.png"/><Relationship Id="rId4" Type="http://schemas.openxmlformats.org/officeDocument/2006/relationships/slide" Target="slide4.xml"/><Relationship Id="rId9" Type="http://schemas.openxmlformats.org/officeDocument/2006/relationships/image" Target="../media/image16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7.png"/><Relationship Id="rId7" Type="http://schemas.openxmlformats.org/officeDocument/2006/relationships/image" Target="../media/image18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18.png"/><Relationship Id="rId11" Type="http://schemas.openxmlformats.org/officeDocument/2006/relationships/image" Target="../media/image200.png"/><Relationship Id="rId5" Type="http://schemas.openxmlformats.org/officeDocument/2006/relationships/image" Target="../media/image170.png"/><Relationship Id="rId10" Type="http://schemas.openxmlformats.org/officeDocument/2006/relationships/image" Target="../media/image20.png"/><Relationship Id="rId4" Type="http://schemas.openxmlformats.org/officeDocument/2006/relationships/slide" Target="slide5.xml"/><Relationship Id="rId9" Type="http://schemas.openxmlformats.org/officeDocument/2006/relationships/image" Target="../media/image19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00EA43E-0399-E3FA-D81C-2326EBA07132}"/>
              </a:ext>
            </a:extLst>
          </p:cNvPr>
          <p:cNvSpPr/>
          <p:nvPr/>
        </p:nvSpPr>
        <p:spPr>
          <a:xfrm>
            <a:off x="5234152" y="5486400"/>
            <a:ext cx="488731" cy="54864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6" name="Slide Zoom 5">
                <a:extLst>
                  <a:ext uri="{FF2B5EF4-FFF2-40B4-BE49-F238E27FC236}">
                    <a16:creationId xmlns:a16="http://schemas.microsoft.com/office/drawing/2014/main" id="{AB10CAA2-3EE6-EB53-3325-06D82518800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723161267"/>
                  </p:ext>
                </p:extLst>
              </p:nvPr>
            </p:nvGraphicFramePr>
            <p:xfrm rot="18931693">
              <a:off x="1216746" y="1403062"/>
              <a:ext cx="4846061" cy="4846061"/>
            </p:xfrm>
            <a:graphic>
              <a:graphicData uri="http://schemas.microsoft.com/office/powerpoint/2016/slidezoom">
                <pslz:sldZm>
                  <pslz:sldZmObj sldId="256" cId="384849974">
                    <pslz:zmPr id="{79AF3889-3FBD-40ED-839C-FCF5F79F76AF}" returnToParent="0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18931693">
                          <a:off x="0" y="0"/>
                          <a:ext cx="4846061" cy="4846061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6" name="Slide Zoom 5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AB10CAA2-3EE6-EB53-3325-06D82518800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931693">
                <a:off x="1216746" y="1403062"/>
                <a:ext cx="4846061" cy="4846061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7" name="Slide Zoom 6">
                <a:extLst>
                  <a:ext uri="{FF2B5EF4-FFF2-40B4-BE49-F238E27FC236}">
                    <a16:creationId xmlns:a16="http://schemas.microsoft.com/office/drawing/2014/main" id="{A0BB7637-AEF0-B6B3-8486-BB1091AE9C6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036766801"/>
                  </p:ext>
                </p:extLst>
              </p:nvPr>
            </p:nvGraphicFramePr>
            <p:xfrm rot="2668307" flipH="1">
              <a:off x="4909994" y="1403063"/>
              <a:ext cx="4846061" cy="4846061"/>
            </p:xfrm>
            <a:graphic>
              <a:graphicData uri="http://schemas.microsoft.com/office/powerpoint/2016/slidezoom">
                <pslz:sldZm>
                  <pslz:sldZmObj sldId="256" cId="384849974">
                    <pslz:zmPr id="{79AF3889-3FBD-40ED-839C-FCF5F79F76AF}" returnToParent="0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2668307" flipH="1">
                          <a:off x="0" y="0"/>
                          <a:ext cx="4846061" cy="4846061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7" name="Slide Zoom 6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A0BB7637-AEF0-B6B3-8486-BB1091AE9C6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 rot="2668307" flipH="1">
                <a:off x="4909994" y="1403063"/>
                <a:ext cx="4846061" cy="4846061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48499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80EF7D1-FA7D-5287-AE77-034FD3C1FE82}"/>
              </a:ext>
            </a:extLst>
          </p:cNvPr>
          <p:cNvSpPr/>
          <p:nvPr/>
        </p:nvSpPr>
        <p:spPr>
          <a:xfrm>
            <a:off x="5076497" y="5486400"/>
            <a:ext cx="804041" cy="5486400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6C71F4-F5BB-CCAC-26AE-D4F4BD97B86E}"/>
              </a:ext>
            </a:extLst>
          </p:cNvPr>
          <p:cNvGrpSpPr/>
          <p:nvPr/>
        </p:nvGrpSpPr>
        <p:grpSpPr>
          <a:xfrm>
            <a:off x="2806262" y="3200400"/>
            <a:ext cx="5360277" cy="7896795"/>
            <a:chOff x="2806262" y="3200400"/>
            <a:chExt cx="5360277" cy="7896795"/>
          </a:xfrm>
        </p:grpSpPr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" name="Slide Zoom 3">
                  <a:extLst>
                    <a:ext uri="{FF2B5EF4-FFF2-40B4-BE49-F238E27FC236}">
                      <a16:creationId xmlns:a16="http://schemas.microsoft.com/office/drawing/2014/main" id="{2BB82D9C-AFFF-506C-2311-F2C429168856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710459785"/>
                    </p:ext>
                  </p:extLst>
                </p:nvPr>
              </p:nvGraphicFramePr>
              <p:xfrm rot="18900000">
                <a:off x="2806262" y="3200400"/>
                <a:ext cx="2743200" cy="2743200"/>
              </p:xfrm>
              <a:graphic>
                <a:graphicData uri="http://schemas.microsoft.com/office/powerpoint/2016/slidezoom">
                  <pslz:sldZm>
                    <pslz:sldZmObj sldId="257" cId="835322998">
                      <pslz:zmPr id="{E847FC7A-9F58-4744-86D1-58C1252C3439}" returnToParent="0" transitionDur="1000" showBg="0">
                        <p166:blipFill xmlns:p166="http://schemas.microsoft.com/office/powerpoint/2016/6/main">
                          <a:blip r:embed="rId2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 rot="18900000">
                            <a:off x="0" y="0"/>
                            <a:ext cx="2743200" cy="2743200"/>
                          </a:xfrm>
                          <a:prstGeom prst="rect">
                            <a:avLst/>
                          </a:prstGeom>
                          <a:ln w="3175">
                            <a:noFill/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" name="Slide Zoom 3">
                  <a:hlinkClick r:id="rId3" action="ppaction://hlinksldjump"/>
                  <a:extLst>
                    <a:ext uri="{FF2B5EF4-FFF2-40B4-BE49-F238E27FC236}">
                      <a16:creationId xmlns:a16="http://schemas.microsoft.com/office/drawing/2014/main" id="{2BB82D9C-AFFF-506C-2311-F2C429168856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18900000">
                  <a:off x="2806262" y="3200400"/>
                  <a:ext cx="2743200" cy="2743200"/>
                </a:xfrm>
                <a:prstGeom prst="rect">
                  <a:avLst/>
                </a:prstGeom>
                <a:ln w="3175">
                  <a:noFill/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5" name="Slide Zoom 4">
                  <a:extLst>
                    <a:ext uri="{FF2B5EF4-FFF2-40B4-BE49-F238E27FC236}">
                      <a16:creationId xmlns:a16="http://schemas.microsoft.com/office/drawing/2014/main" id="{4A6ACFE5-E378-A284-2660-65E24988BE9D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443958096"/>
                    </p:ext>
                  </p:extLst>
                </p:nvPr>
              </p:nvGraphicFramePr>
              <p:xfrm rot="2700000" flipH="1">
                <a:off x="5423339" y="3200400"/>
                <a:ext cx="2743200" cy="2743200"/>
              </p:xfrm>
              <a:graphic>
                <a:graphicData uri="http://schemas.microsoft.com/office/powerpoint/2016/slidezoom">
                  <pslz:sldZm>
                    <pslz:sldZmObj sldId="257" cId="835322998">
                      <pslz:zmPr id="{E847FC7A-9F58-4744-86D1-58C1252C3439}" returnToParent="0" transitionDur="1000" showBg="0">
                        <p166:blipFill xmlns:p166="http://schemas.microsoft.com/office/powerpoint/2016/6/main">
                          <a:blip r:embed="rId5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 rot="2700000" flipH="1">
                            <a:off x="0" y="0"/>
                            <a:ext cx="2743200" cy="2743200"/>
                          </a:xfrm>
                          <a:prstGeom prst="rect">
                            <a:avLst/>
                          </a:prstGeom>
                          <a:ln w="3175">
                            <a:noFill/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5" name="Slide Zoom 4">
                  <a:hlinkClick r:id="rId3" action="ppaction://hlinksldjump"/>
                  <a:extLst>
                    <a:ext uri="{FF2B5EF4-FFF2-40B4-BE49-F238E27FC236}">
                      <a16:creationId xmlns:a16="http://schemas.microsoft.com/office/drawing/2014/main" id="{4A6ACFE5-E378-A284-2660-65E24988BE9D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 rot="2700000" flipH="1">
                  <a:off x="5423339" y="3200400"/>
                  <a:ext cx="2743200" cy="2743200"/>
                </a:xfrm>
                <a:prstGeom prst="rect">
                  <a:avLst/>
                </a:prstGeom>
                <a:ln w="3175">
                  <a:noFill/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6" name="Slide Zoom 5">
                  <a:extLst>
                    <a:ext uri="{FF2B5EF4-FFF2-40B4-BE49-F238E27FC236}">
                      <a16:creationId xmlns:a16="http://schemas.microsoft.com/office/drawing/2014/main" id="{D5B4E38D-21E6-680A-3009-3704E6370DC7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4064679919"/>
                    </p:ext>
                  </p:extLst>
                </p:nvPr>
              </p:nvGraphicFramePr>
              <p:xfrm rot="18900000">
                <a:off x="2942896" y="4918265"/>
                <a:ext cx="2743200" cy="2743200"/>
              </p:xfrm>
              <a:graphic>
                <a:graphicData uri="http://schemas.microsoft.com/office/powerpoint/2016/slidezoom">
                  <pslz:sldZm>
                    <pslz:sldZmObj sldId="257" cId="835322998">
                      <pslz:zmPr id="{E847FC7A-9F58-4744-86D1-58C1252C3439}" returnToParent="0" transitionDur="1000" showBg="0">
                        <p166:blipFill xmlns:p166="http://schemas.microsoft.com/office/powerpoint/2016/6/main">
                          <a:blip r:embed="rId7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 rot="18900000">
                            <a:off x="0" y="0"/>
                            <a:ext cx="2743200" cy="2743200"/>
                          </a:xfrm>
                          <a:prstGeom prst="rect">
                            <a:avLst/>
                          </a:prstGeom>
                          <a:ln w="3175">
                            <a:noFill/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6" name="Slide Zoom 5">
                  <a:hlinkClick r:id="rId3" action="ppaction://hlinksldjump"/>
                  <a:extLst>
                    <a:ext uri="{FF2B5EF4-FFF2-40B4-BE49-F238E27FC236}">
                      <a16:creationId xmlns:a16="http://schemas.microsoft.com/office/drawing/2014/main" id="{D5B4E38D-21E6-680A-3009-3704E6370DC7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 rot="18900000">
                  <a:off x="2942896" y="4918265"/>
                  <a:ext cx="2743200" cy="2743200"/>
                </a:xfrm>
                <a:prstGeom prst="rect">
                  <a:avLst/>
                </a:prstGeom>
                <a:ln w="3175">
                  <a:noFill/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7" name="Slide Zoom 6">
                  <a:extLst>
                    <a:ext uri="{FF2B5EF4-FFF2-40B4-BE49-F238E27FC236}">
                      <a16:creationId xmlns:a16="http://schemas.microsoft.com/office/drawing/2014/main" id="{6931B613-E879-0F32-59EA-988A223E9991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746392228"/>
                    </p:ext>
                  </p:extLst>
                </p:nvPr>
              </p:nvGraphicFramePr>
              <p:xfrm rot="18900000">
                <a:off x="3079530" y="6636130"/>
                <a:ext cx="2743200" cy="2743200"/>
              </p:xfrm>
              <a:graphic>
                <a:graphicData uri="http://schemas.microsoft.com/office/powerpoint/2016/slidezoom">
                  <pslz:sldZm>
                    <pslz:sldZmObj sldId="257" cId="835322998">
                      <pslz:zmPr id="{E847FC7A-9F58-4744-86D1-58C1252C3439}" returnToParent="0" transitionDur="1000" showBg="0">
                        <p166:blipFill xmlns:p166="http://schemas.microsoft.com/office/powerpoint/2016/6/main">
                          <a:blip r:embed="rId9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 rot="18900000">
                            <a:off x="0" y="0"/>
                            <a:ext cx="2743200" cy="2743200"/>
                          </a:xfrm>
                          <a:prstGeom prst="rect">
                            <a:avLst/>
                          </a:prstGeom>
                          <a:ln w="3175">
                            <a:noFill/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7" name="Slide Zoom 6">
                  <a:hlinkClick r:id="rId3" action="ppaction://hlinksldjump"/>
                  <a:extLst>
                    <a:ext uri="{FF2B5EF4-FFF2-40B4-BE49-F238E27FC236}">
                      <a16:creationId xmlns:a16="http://schemas.microsoft.com/office/drawing/2014/main" id="{6931B613-E879-0F32-59EA-988A223E9991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 rot="18900000">
                  <a:off x="3079530" y="6636130"/>
                  <a:ext cx="2743200" cy="2743200"/>
                </a:xfrm>
                <a:prstGeom prst="rect">
                  <a:avLst/>
                </a:prstGeom>
                <a:ln w="3175">
                  <a:noFill/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8" name="Slide Zoom 7">
                  <a:extLst>
                    <a:ext uri="{FF2B5EF4-FFF2-40B4-BE49-F238E27FC236}">
                      <a16:creationId xmlns:a16="http://schemas.microsoft.com/office/drawing/2014/main" id="{83060FF8-D43E-A354-1D1F-612E57E7F54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071393120"/>
                    </p:ext>
                  </p:extLst>
                </p:nvPr>
              </p:nvGraphicFramePr>
              <p:xfrm rot="18900000">
                <a:off x="3216164" y="8353995"/>
                <a:ext cx="2743200" cy="2743200"/>
              </p:xfrm>
              <a:graphic>
                <a:graphicData uri="http://schemas.microsoft.com/office/powerpoint/2016/slidezoom">
                  <pslz:sldZm>
                    <pslz:sldZmObj sldId="257" cId="835322998">
                      <pslz:zmPr id="{E847FC7A-9F58-4744-86D1-58C1252C3439}" returnToParent="0" transitionDur="1000" showBg="0">
                        <p166:blipFill xmlns:p166="http://schemas.microsoft.com/office/powerpoint/2016/6/main">
                          <a:blip r:embed="rId11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 rot="18900000">
                            <a:off x="0" y="0"/>
                            <a:ext cx="2743200" cy="2743200"/>
                          </a:xfrm>
                          <a:prstGeom prst="rect">
                            <a:avLst/>
                          </a:prstGeom>
                          <a:ln w="3175">
                            <a:noFill/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8" name="Slide Zoom 7">
                  <a:hlinkClick r:id="rId3" action="ppaction://hlinksldjump"/>
                  <a:extLst>
                    <a:ext uri="{FF2B5EF4-FFF2-40B4-BE49-F238E27FC236}">
                      <a16:creationId xmlns:a16="http://schemas.microsoft.com/office/drawing/2014/main" id="{83060FF8-D43E-A354-1D1F-612E57E7F54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 rot="18900000">
                  <a:off x="3216164" y="8353995"/>
                  <a:ext cx="2743200" cy="2743200"/>
                </a:xfrm>
                <a:prstGeom prst="rect">
                  <a:avLst/>
                </a:prstGeom>
                <a:ln w="3175">
                  <a:noFill/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9" name="Slide Zoom 8">
                  <a:extLst>
                    <a:ext uri="{FF2B5EF4-FFF2-40B4-BE49-F238E27FC236}">
                      <a16:creationId xmlns:a16="http://schemas.microsoft.com/office/drawing/2014/main" id="{D4CD31B4-5A7E-79FE-60C7-21A44A791EB3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615705224"/>
                    </p:ext>
                  </p:extLst>
                </p:nvPr>
              </p:nvGraphicFramePr>
              <p:xfrm rot="2700000" flipH="1">
                <a:off x="5239984" y="4863373"/>
                <a:ext cx="2743200" cy="2743200"/>
              </p:xfrm>
              <a:graphic>
                <a:graphicData uri="http://schemas.microsoft.com/office/powerpoint/2016/slidezoom">
                  <pslz:sldZm>
                    <pslz:sldZmObj sldId="257" cId="835322998">
                      <pslz:zmPr id="{E847FC7A-9F58-4744-86D1-58C1252C3439}" returnToParent="0" transitionDur="1000" showBg="0">
                        <p166:blipFill xmlns:p166="http://schemas.microsoft.com/office/powerpoint/2016/6/main">
                          <a:blip r:embed="rId13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 rot="2700000" flipH="1">
                            <a:off x="0" y="0"/>
                            <a:ext cx="2743200" cy="2743200"/>
                          </a:xfrm>
                          <a:prstGeom prst="rect">
                            <a:avLst/>
                          </a:prstGeom>
                          <a:ln w="3175">
                            <a:noFill/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9" name="Slide Zoom 8">
                  <a:hlinkClick r:id="rId3" action="ppaction://hlinksldjump"/>
                  <a:extLst>
                    <a:ext uri="{FF2B5EF4-FFF2-40B4-BE49-F238E27FC236}">
                      <a16:creationId xmlns:a16="http://schemas.microsoft.com/office/drawing/2014/main" id="{D4CD31B4-5A7E-79FE-60C7-21A44A791EB3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 rot="2700000" flipH="1">
                  <a:off x="5239984" y="4863373"/>
                  <a:ext cx="2743200" cy="2743200"/>
                </a:xfrm>
                <a:prstGeom prst="rect">
                  <a:avLst/>
                </a:prstGeom>
                <a:ln w="3175">
                  <a:noFill/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10" name="Slide Zoom 9">
                  <a:extLst>
                    <a:ext uri="{FF2B5EF4-FFF2-40B4-BE49-F238E27FC236}">
                      <a16:creationId xmlns:a16="http://schemas.microsoft.com/office/drawing/2014/main" id="{2DD317A2-3BC9-FA9B-35BB-91F8EDAE2095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032996768"/>
                    </p:ext>
                  </p:extLst>
                </p:nvPr>
              </p:nvGraphicFramePr>
              <p:xfrm rot="2700000" flipH="1">
                <a:off x="5056629" y="6526346"/>
                <a:ext cx="2743200" cy="2743200"/>
              </p:xfrm>
              <a:graphic>
                <a:graphicData uri="http://schemas.microsoft.com/office/powerpoint/2016/slidezoom">
                  <pslz:sldZm>
                    <pslz:sldZmObj sldId="257" cId="835322998">
                      <pslz:zmPr id="{E847FC7A-9F58-4744-86D1-58C1252C3439}" returnToParent="0" transitionDur="1000" showBg="0">
                        <p166:blipFill xmlns:p166="http://schemas.microsoft.com/office/powerpoint/2016/6/main">
                          <a:blip r:embed="rId15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 rot="2700000" flipH="1">
                            <a:off x="0" y="0"/>
                            <a:ext cx="2743200" cy="2743200"/>
                          </a:xfrm>
                          <a:prstGeom prst="rect">
                            <a:avLst/>
                          </a:prstGeom>
                          <a:ln w="3175">
                            <a:noFill/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10" name="Slide Zoom 9">
                  <a:hlinkClick r:id="rId3" action="ppaction://hlinksldjump"/>
                  <a:extLst>
                    <a:ext uri="{FF2B5EF4-FFF2-40B4-BE49-F238E27FC236}">
                      <a16:creationId xmlns:a16="http://schemas.microsoft.com/office/drawing/2014/main" id="{2DD317A2-3BC9-FA9B-35BB-91F8EDAE2095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 rot="2700000" flipH="1">
                  <a:off x="5056629" y="6526346"/>
                  <a:ext cx="2743200" cy="2743200"/>
                </a:xfrm>
                <a:prstGeom prst="rect">
                  <a:avLst/>
                </a:prstGeom>
                <a:ln w="3175">
                  <a:noFill/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11" name="Slide Zoom 10">
                  <a:extLst>
                    <a:ext uri="{FF2B5EF4-FFF2-40B4-BE49-F238E27FC236}">
                      <a16:creationId xmlns:a16="http://schemas.microsoft.com/office/drawing/2014/main" id="{8977F1FD-EA41-B9F1-4521-E1F3C26C5D7A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503351149"/>
                    </p:ext>
                  </p:extLst>
                </p:nvPr>
              </p:nvGraphicFramePr>
              <p:xfrm rot="2700000" flipH="1">
                <a:off x="4873274" y="8189319"/>
                <a:ext cx="2743200" cy="2743200"/>
              </p:xfrm>
              <a:graphic>
                <a:graphicData uri="http://schemas.microsoft.com/office/powerpoint/2016/slidezoom">
                  <pslz:sldZm>
                    <pslz:sldZmObj sldId="257" cId="835322998">
                      <pslz:zmPr id="{E847FC7A-9F58-4744-86D1-58C1252C3439}" returnToParent="0" transitionDur="1000" showBg="0">
                        <p166:blipFill xmlns:p166="http://schemas.microsoft.com/office/powerpoint/2016/6/main">
                          <a:blip r:embed="rId17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 rot="2700000" flipH="1">
                            <a:off x="0" y="0"/>
                            <a:ext cx="2743200" cy="2743200"/>
                          </a:xfrm>
                          <a:prstGeom prst="rect">
                            <a:avLst/>
                          </a:prstGeom>
                          <a:ln w="3175">
                            <a:noFill/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11" name="Slide Zoom 10">
                  <a:hlinkClick r:id="rId3" action="ppaction://hlinksldjump"/>
                  <a:extLst>
                    <a:ext uri="{FF2B5EF4-FFF2-40B4-BE49-F238E27FC236}">
                      <a16:creationId xmlns:a16="http://schemas.microsoft.com/office/drawing/2014/main" id="{8977F1FD-EA41-B9F1-4521-E1F3C26C5D7A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 rot="2700000" flipH="1">
                  <a:off x="4873274" y="8189319"/>
                  <a:ext cx="2743200" cy="2743200"/>
                </a:xfrm>
                <a:prstGeom prst="rect">
                  <a:avLst/>
                </a:prstGeom>
                <a:ln w="3175">
                  <a:noFill/>
                </a:ln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835322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0F1F546-B54C-6FA7-D792-97037FFF386B}"/>
              </a:ext>
            </a:extLst>
          </p:cNvPr>
          <p:cNvSpPr/>
          <p:nvPr/>
        </p:nvSpPr>
        <p:spPr>
          <a:xfrm>
            <a:off x="4981903" y="5486400"/>
            <a:ext cx="1008994" cy="5486400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" name="Slide Zoom 3">
                <a:extLst>
                  <a:ext uri="{FF2B5EF4-FFF2-40B4-BE49-F238E27FC236}">
                    <a16:creationId xmlns:a16="http://schemas.microsoft.com/office/drawing/2014/main" id="{FD6875A5-061B-BF68-081D-B67F7EBD900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771167453"/>
                  </p:ext>
                </p:extLst>
              </p:nvPr>
            </p:nvGraphicFramePr>
            <p:xfrm rot="18900000">
              <a:off x="230523" y="734732"/>
              <a:ext cx="5908797" cy="5908797"/>
            </p:xfrm>
            <a:graphic>
              <a:graphicData uri="http://schemas.microsoft.com/office/powerpoint/2016/slidezoom">
                <pslz:sldZm>
                  <pslz:sldZmObj sldId="258" cId="698314606">
                    <pslz:zmPr id="{14F1DAA2-3536-442E-A6AB-17364904B12B}" returnToParent="0" transitionDur="1000" showBg="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18900000">
                          <a:off x="0" y="0"/>
                          <a:ext cx="5908797" cy="5908797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" name="Slide Zoom 3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FD6875A5-061B-BF68-081D-B67F7EBD900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8900000">
                <a:off x="230523" y="734732"/>
                <a:ext cx="5908797" cy="5908797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8" name="Slide Zoom 7">
                <a:extLst>
                  <a:ext uri="{FF2B5EF4-FFF2-40B4-BE49-F238E27FC236}">
                    <a16:creationId xmlns:a16="http://schemas.microsoft.com/office/drawing/2014/main" id="{D062BDF2-0AB1-7B94-A49B-C5326BEF95D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139844066"/>
                  </p:ext>
                </p:extLst>
              </p:nvPr>
            </p:nvGraphicFramePr>
            <p:xfrm>
              <a:off x="4114800" y="2743200"/>
              <a:ext cx="2743200" cy="2743200"/>
            </p:xfrm>
            <a:graphic>
              <a:graphicData uri="http://schemas.microsoft.com/office/powerpoint/2016/slidezoom">
                <pslz:sldZm>
                  <pslz:sldZmObj sldId="258" cId="698314606">
                    <pslz:zmPr id="{14F1DAA2-3536-442E-A6AB-17364904B12B}" returnToParent="0" transitionDur="1000" showBg="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743200" cy="27432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8" name="Slide Zoom 7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D062BDF2-0AB1-7B94-A49B-C5326BEF95D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14800" y="2743200"/>
                <a:ext cx="2743200" cy="274320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9" name="Slide Zoom 8">
                <a:extLst>
                  <a:ext uri="{FF2B5EF4-FFF2-40B4-BE49-F238E27FC236}">
                    <a16:creationId xmlns:a16="http://schemas.microsoft.com/office/drawing/2014/main" id="{B004D3B1-A43C-5485-0604-2197C763AF2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909137632"/>
                  </p:ext>
                </p:extLst>
              </p:nvPr>
            </p:nvGraphicFramePr>
            <p:xfrm rot="2700000" flipH="1">
              <a:off x="4891860" y="592842"/>
              <a:ext cx="5908797" cy="5908797"/>
            </p:xfrm>
            <a:graphic>
              <a:graphicData uri="http://schemas.microsoft.com/office/powerpoint/2016/slidezoom">
                <pslz:sldZm>
                  <pslz:sldZmObj sldId="258" cId="698314606">
                    <pslz:zmPr id="{14F1DAA2-3536-442E-A6AB-17364904B12B}" returnToParent="0" transitionDur="1000" showBg="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2700000" flipH="1">
                          <a:off x="0" y="0"/>
                          <a:ext cx="5908797" cy="5908797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9" name="Slide Zoom 8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B004D3B1-A43C-5485-0604-2197C763AF2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2700000" flipH="1">
                <a:off x="4891860" y="592842"/>
                <a:ext cx="5908797" cy="5908797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6983146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8" name="Slide Zoom 7">
                <a:extLst>
                  <a:ext uri="{FF2B5EF4-FFF2-40B4-BE49-F238E27FC236}">
                    <a16:creationId xmlns:a16="http://schemas.microsoft.com/office/drawing/2014/main" id="{775B5D1C-4D70-D743-457F-A0F5C141AFC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939988568"/>
                  </p:ext>
                </p:extLst>
              </p:nvPr>
            </p:nvGraphicFramePr>
            <p:xfrm rot="19602875" flipH="1">
              <a:off x="808684" y="3298108"/>
              <a:ext cx="5777092" cy="5777092"/>
            </p:xfrm>
            <a:graphic>
              <a:graphicData uri="http://schemas.microsoft.com/office/powerpoint/2016/slidezoom">
                <pslz:sldZm>
                  <pslz:sldZmObj sldId="259" cId="2642580650">
                    <pslz:zmPr id="{F1D611F9-CC7C-4DB8-8F0B-0B4D02BC80BC}" returnToParent="0" transitionDur="1000" showBg="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19602875" flipH="1">
                          <a:off x="0" y="0"/>
                          <a:ext cx="5777092" cy="5777092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glow rad="63500">
                            <a:schemeClr val="accent4">
                              <a:satMod val="175000"/>
                              <a:alpha val="40000"/>
                            </a:schemeClr>
                          </a:glo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8" name="Slide Zoom 7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775B5D1C-4D70-D743-457F-A0F5C141AFC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9602875" flipH="1">
                <a:off x="808684" y="3298108"/>
                <a:ext cx="5777092" cy="5777092"/>
              </a:xfrm>
              <a:prstGeom prst="rect">
                <a:avLst/>
              </a:prstGeom>
              <a:ln w="3175">
                <a:noFill/>
              </a:ln>
              <a:effectLst>
                <a:glow rad="63500">
                  <a:schemeClr val="accent4">
                    <a:satMod val="175000"/>
                    <a:alpha val="40000"/>
                  </a:schemeClr>
                </a:glo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7" name="Slide Zoom 6">
                <a:extLst>
                  <a:ext uri="{FF2B5EF4-FFF2-40B4-BE49-F238E27FC236}">
                    <a16:creationId xmlns:a16="http://schemas.microsoft.com/office/drawing/2014/main" id="{57EBA5C6-C2F1-58BB-D72A-2CA387BB399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96336592"/>
                  </p:ext>
                </p:extLst>
              </p:nvPr>
            </p:nvGraphicFramePr>
            <p:xfrm rot="1841134">
              <a:off x="3989531" y="4013686"/>
              <a:ext cx="5777092" cy="5777092"/>
            </p:xfrm>
            <a:graphic>
              <a:graphicData uri="http://schemas.microsoft.com/office/powerpoint/2016/slidezoom">
                <pslz:sldZm>
                  <pslz:sldZmObj sldId="259" cId="2642580650">
                    <pslz:zmPr id="{F1D611F9-CC7C-4DB8-8F0B-0B4D02BC80BC}" returnToParent="0" transitionDur="1000" showBg="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1841134">
                          <a:off x="0" y="0"/>
                          <a:ext cx="5777092" cy="5777092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glow rad="63500">
                            <a:schemeClr val="accent4">
                              <a:satMod val="175000"/>
                              <a:alpha val="40000"/>
                            </a:schemeClr>
                          </a:glo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7" name="Slide Zoom 6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57EBA5C6-C2F1-58BB-D72A-2CA387BB399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 rot="1841134">
                <a:off x="3989531" y="4013686"/>
                <a:ext cx="5777092" cy="5777092"/>
              </a:xfrm>
              <a:prstGeom prst="rect">
                <a:avLst/>
              </a:prstGeom>
              <a:ln w="3175">
                <a:noFill/>
              </a:ln>
              <a:effectLst>
                <a:glow rad="63500">
                  <a:schemeClr val="accent4">
                    <a:satMod val="175000"/>
                    <a:alpha val="40000"/>
                  </a:schemeClr>
                </a:glo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" name="Slide Zoom 3">
                <a:extLst>
                  <a:ext uri="{FF2B5EF4-FFF2-40B4-BE49-F238E27FC236}">
                    <a16:creationId xmlns:a16="http://schemas.microsoft.com/office/drawing/2014/main" id="{29087AE0-B533-ACD4-E47D-F716506D391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864516565"/>
                  </p:ext>
                </p:extLst>
              </p:nvPr>
            </p:nvGraphicFramePr>
            <p:xfrm rot="316555">
              <a:off x="2519023" y="1323912"/>
              <a:ext cx="5777092" cy="5777092"/>
            </p:xfrm>
            <a:graphic>
              <a:graphicData uri="http://schemas.microsoft.com/office/powerpoint/2016/slidezoom">
                <pslz:sldZm>
                  <pslz:sldZmObj sldId="259" cId="2642580650">
                    <pslz:zmPr id="{F1D611F9-CC7C-4DB8-8F0B-0B4D02BC80BC}" returnToParent="0" transitionDur="1000" showBg="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316555">
                          <a:off x="0" y="0"/>
                          <a:ext cx="5777092" cy="5777092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glow rad="63500">
                            <a:schemeClr val="accent4">
                              <a:satMod val="175000"/>
                              <a:alpha val="40000"/>
                            </a:schemeClr>
                          </a:glo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" name="Slide Zoom 3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29087AE0-B533-ACD4-E47D-F716506D391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316555">
                <a:off x="2519023" y="1323912"/>
                <a:ext cx="5777092" cy="5777092"/>
              </a:xfrm>
              <a:prstGeom prst="rect">
                <a:avLst/>
              </a:prstGeom>
              <a:ln w="3175">
                <a:noFill/>
              </a:ln>
              <a:effectLst>
                <a:glow rad="63500">
                  <a:schemeClr val="accent4">
                    <a:satMod val="175000"/>
                    <a:alpha val="40000"/>
                  </a:schemeClr>
                </a:glow>
              </a:effectLst>
            </p:spPr>
          </p:pic>
        </mc:Fallback>
      </mc:AlternateContent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FC3F934-398B-517A-3377-CDC2F8729F63}"/>
              </a:ext>
            </a:extLst>
          </p:cNvPr>
          <p:cNvSpPr/>
          <p:nvPr/>
        </p:nvSpPr>
        <p:spPr>
          <a:xfrm rot="21314010">
            <a:off x="5186856" y="6905298"/>
            <a:ext cx="252248" cy="428822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425806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0" name="Slide Zoom 9">
                <a:extLst>
                  <a:ext uri="{FF2B5EF4-FFF2-40B4-BE49-F238E27FC236}">
                    <a16:creationId xmlns:a16="http://schemas.microsoft.com/office/drawing/2014/main" id="{14E228B6-C5A2-BABF-22B4-17F6E5BA078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37200613"/>
                  </p:ext>
                </p:extLst>
              </p:nvPr>
            </p:nvGraphicFramePr>
            <p:xfrm rot="18478039">
              <a:off x="1965611" y="3520737"/>
              <a:ext cx="2732854" cy="2732854"/>
            </p:xfrm>
            <a:graphic>
              <a:graphicData uri="http://schemas.microsoft.com/office/powerpoint/2016/slidezoom">
                <pslz:sldZm>
                  <pslz:sldZmObj sldId="260" cId="348700624">
                    <pslz:zmPr id="{E18999B8-7231-4743-8AFA-006D033B6467}" returnToParent="0" transitionDur="1000" showBg="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18478039">
                          <a:off x="0" y="0"/>
                          <a:ext cx="2732854" cy="273285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glow rad="101600">
                            <a:schemeClr val="accent6">
                              <a:satMod val="175000"/>
                              <a:alpha val="40000"/>
                            </a:schemeClr>
                          </a:glo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0" name="Slide Zoom 9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14E228B6-C5A2-BABF-22B4-17F6E5BA078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18478039">
                <a:off x="1965611" y="3520737"/>
                <a:ext cx="2732854" cy="2732854"/>
              </a:xfrm>
              <a:prstGeom prst="rect">
                <a:avLst/>
              </a:prstGeom>
              <a:ln w="3175">
                <a:noFill/>
              </a:ln>
              <a:effectLst>
                <a:glow rad="101600">
                  <a:schemeClr val="accent6">
                    <a:satMod val="175000"/>
                    <a:alpha val="40000"/>
                  </a:schemeClr>
                </a:glow>
              </a:effectLst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" name="Slide Zoom 3">
                <a:extLst>
                  <a:ext uri="{FF2B5EF4-FFF2-40B4-BE49-F238E27FC236}">
                    <a16:creationId xmlns:a16="http://schemas.microsoft.com/office/drawing/2014/main" id="{A2E7219D-9950-98B2-D8BD-4550FCFD983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762859855"/>
                  </p:ext>
                </p:extLst>
              </p:nvPr>
            </p:nvGraphicFramePr>
            <p:xfrm rot="1708267">
              <a:off x="3151367" y="587610"/>
              <a:ext cx="5616000" cy="5616000"/>
            </p:xfrm>
            <a:graphic>
              <a:graphicData uri="http://schemas.microsoft.com/office/powerpoint/2016/slidezoom">
                <pslz:sldZm>
                  <pslz:sldZmObj sldId="260" cId="348700624">
                    <pslz:zmPr id="{E18999B8-7231-4743-8AFA-006D033B6467}" returnToParent="0" transitionDur="1000" showBg="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1708267">
                          <a:off x="0" y="0"/>
                          <a:ext cx="5616000" cy="56160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  <a:effectLst>
                          <a:glow rad="101600">
                            <a:schemeClr val="accent6">
                              <a:satMod val="175000"/>
                              <a:alpha val="40000"/>
                            </a:schemeClr>
                          </a:glow>
                        </a:effectLst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" name="Slide Zoom 3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A2E7219D-9950-98B2-D8BD-4550FCFD983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 rot="1708267">
                <a:off x="3151367" y="587610"/>
                <a:ext cx="5616000" cy="5616000"/>
              </a:xfrm>
              <a:prstGeom prst="rect">
                <a:avLst/>
              </a:prstGeom>
              <a:ln w="3175">
                <a:noFill/>
              </a:ln>
              <a:effectLst>
                <a:glow rad="101600">
                  <a:schemeClr val="accent6">
                    <a:satMod val="175000"/>
                    <a:alpha val="40000"/>
                  </a:schemeClr>
                </a:glow>
              </a:effectLst>
            </p:spPr>
          </p:pic>
        </mc:Fallback>
      </mc:AlternateContent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0AC347F-EF71-13AC-551F-4EEE65507F8D}"/>
              </a:ext>
            </a:extLst>
          </p:cNvPr>
          <p:cNvSpPr/>
          <p:nvPr/>
        </p:nvSpPr>
        <p:spPr>
          <a:xfrm rot="21281272">
            <a:off x="4491925" y="5644055"/>
            <a:ext cx="220717" cy="5486400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5" name="Slide Zoom 24">
                <a:extLst>
                  <a:ext uri="{FF2B5EF4-FFF2-40B4-BE49-F238E27FC236}">
                    <a16:creationId xmlns:a16="http://schemas.microsoft.com/office/drawing/2014/main" id="{11067891-4C9C-6F26-F8AA-E077EF4537E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54885624"/>
                  </p:ext>
                </p:extLst>
              </p:nvPr>
            </p:nvGraphicFramePr>
            <p:xfrm rot="1636814">
              <a:off x="4114800" y="5946449"/>
              <a:ext cx="2743200" cy="2743200"/>
            </p:xfrm>
            <a:graphic>
              <a:graphicData uri="http://schemas.microsoft.com/office/powerpoint/2016/slidezoom">
                <pslz:sldZm>
                  <pslz:sldZmObj sldId="260" cId="348700624">
                    <pslz:zmPr id="{FCDC5D5D-54FE-4735-AAF3-A58F1257B918}" returnToParent="0" transitionDur="1000" showBg="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1636814">
                          <a:off x="0" y="0"/>
                          <a:ext cx="2743200" cy="27432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5" name="Slide Zoom 24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11067891-4C9C-6F26-F8AA-E077EF4537E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 rot="1636814">
                <a:off x="4114800" y="5946449"/>
                <a:ext cx="2743200" cy="274320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6" name="Slide Zoom 25">
                <a:extLst>
                  <a:ext uri="{FF2B5EF4-FFF2-40B4-BE49-F238E27FC236}">
                    <a16:creationId xmlns:a16="http://schemas.microsoft.com/office/drawing/2014/main" id="{EA77ADEC-1EAE-39E0-7229-41C2F59AD64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694587324"/>
                  </p:ext>
                </p:extLst>
              </p:nvPr>
            </p:nvGraphicFramePr>
            <p:xfrm rot="17268306">
              <a:off x="1960437" y="5433445"/>
              <a:ext cx="2743200" cy="2743200"/>
            </p:xfrm>
            <a:graphic>
              <a:graphicData uri="http://schemas.microsoft.com/office/powerpoint/2016/slidezoom">
                <pslz:sldZm>
                  <pslz:sldZmObj sldId="260" cId="348700624">
                    <pslz:zmPr id="{FCDC5D5D-54FE-4735-AAF3-A58F1257B918}" returnToParent="0" transitionDur="1000" showBg="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17268306">
                          <a:off x="0" y="0"/>
                          <a:ext cx="2743200" cy="27432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6" name="Slide Zoom 25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EA77ADEC-1EAE-39E0-7229-41C2F59AD64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17268306">
                <a:off x="1960437" y="5433445"/>
                <a:ext cx="2743200" cy="274320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3487006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</TotalTime>
  <Words>0</Words>
  <Application>Microsoft Office PowerPoint</Application>
  <PresentationFormat>Custom</PresentationFormat>
  <Paragraphs>0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ptos</vt:lpstr>
      <vt:lpstr>Aptos Display</vt:lpstr>
      <vt:lpstr>Arial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CKSON A/L RAJA SINGAM</dc:creator>
  <cp:lastModifiedBy>JACKSON A/L RAJA SINGAM</cp:lastModifiedBy>
  <cp:revision>2</cp:revision>
  <dcterms:created xsi:type="dcterms:W3CDTF">2024-10-19T08:09:58Z</dcterms:created>
  <dcterms:modified xsi:type="dcterms:W3CDTF">2024-10-21T11:01:38Z</dcterms:modified>
</cp:coreProperties>
</file>